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4460" r:id="rId4"/>
    <p:sldMasterId id="2147484533" r:id="rId5"/>
    <p:sldMasterId id="2147484891" r:id="rId6"/>
    <p:sldMasterId id="2147484951" r:id="rId7"/>
    <p:sldMasterId id="2147484956" r:id="rId8"/>
    <p:sldMasterId id="2147484967" r:id="rId9"/>
    <p:sldMasterId id="2147484989" r:id="rId10"/>
    <p:sldMasterId id="2147485016" r:id="rId11"/>
    <p:sldMasterId id="2147483650" r:id="rId12"/>
    <p:sldMasterId id="2147483652" r:id="rId13"/>
    <p:sldMasterId id="2147485036" r:id="rId14"/>
    <p:sldMasterId id="2147485042" r:id="rId15"/>
    <p:sldMasterId id="2147485075" r:id="rId16"/>
  </p:sldMasterIdLst>
  <p:notesMasterIdLst>
    <p:notesMasterId r:id="rId30"/>
  </p:notesMasterIdLst>
  <p:handoutMasterIdLst>
    <p:handoutMasterId r:id="rId31"/>
  </p:handoutMasterIdLst>
  <p:sldIdLst>
    <p:sldId id="6050" r:id="rId17"/>
    <p:sldId id="4909" r:id="rId18"/>
    <p:sldId id="2147376138" r:id="rId19"/>
    <p:sldId id="2147376026" r:id="rId20"/>
    <p:sldId id="2147376139" r:id="rId21"/>
    <p:sldId id="2147376142" r:id="rId22"/>
    <p:sldId id="2147376140" r:id="rId23"/>
    <p:sldId id="2147376143" r:id="rId24"/>
    <p:sldId id="2147376141" r:id="rId25"/>
    <p:sldId id="2147376144" r:id="rId26"/>
    <p:sldId id="2147376145" r:id="rId27"/>
    <p:sldId id="2147376010" r:id="rId28"/>
    <p:sldId id="2147376011" r:id="rId29"/>
  </p:sldIdLst>
  <p:sldSz cx="13004800" cy="7315200"/>
  <p:notesSz cx="9388475" cy="7102475"/>
  <p:defaultTextStyle>
    <a:defPPr>
      <a:defRPr lang="en-US"/>
    </a:defPPr>
    <a:lvl1pPr marL="0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76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354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52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708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88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9063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223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541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79BF7FD-5784-43D2-9F78-9EAEC33213F6}">
          <p14:sldIdLst>
            <p14:sldId id="6050"/>
            <p14:sldId id="4909"/>
            <p14:sldId id="2147376138"/>
            <p14:sldId id="2147376026"/>
            <p14:sldId id="2147376139"/>
            <p14:sldId id="2147376142"/>
            <p14:sldId id="2147376140"/>
            <p14:sldId id="2147376143"/>
            <p14:sldId id="2147376141"/>
            <p14:sldId id="2147376144"/>
            <p14:sldId id="2147376145"/>
          </p14:sldIdLst>
        </p14:section>
        <p14:section name="Appendix" id="{F4D773BC-F2EE-4A3E-909D-8AB9E6E1CB80}">
          <p14:sldIdLst>
            <p14:sldId id="2147376010"/>
            <p14:sldId id="21473760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pos="4566" userDrawn="1">
          <p15:clr>
            <a:srgbClr val="A4A3A4"/>
          </p15:clr>
        </p15:guide>
        <p15:guide id="4" pos="616" userDrawn="1">
          <p15:clr>
            <a:srgbClr val="A4A3A4"/>
          </p15:clr>
        </p15:guide>
        <p15:guide id="5" pos="7792" userDrawn="1">
          <p15:clr>
            <a:srgbClr val="A4A3A4"/>
          </p15:clr>
        </p15:guide>
        <p15:guide id="6" pos="3377" userDrawn="1">
          <p15:clr>
            <a:srgbClr val="A4A3A4"/>
          </p15:clr>
        </p15:guide>
        <p15:guide id="7" orient="horz" pos="3528" userDrawn="1">
          <p15:clr>
            <a:srgbClr val="A4A3A4"/>
          </p15:clr>
        </p15:guide>
        <p15:guide id="8" pos="57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0" name="Author" initials="A" lastIdx="2541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E53"/>
    <a:srgbClr val="000000"/>
    <a:srgbClr val="D9D9D9"/>
    <a:srgbClr val="E3C88D"/>
    <a:srgbClr val="31006F"/>
    <a:srgbClr val="E8D2A0"/>
    <a:srgbClr val="00B050"/>
    <a:srgbClr val="C5EDD8"/>
    <a:srgbClr val="F1E7FF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7854A3-2D6E-4EAA-A97B-BD59B0652BA9}" v="548" dt="2024-02-13T17:59:09.971"/>
    <p1510:client id="{88FCA735-2266-4DF7-A5E7-895626DF573F}" v="95" dt="2024-02-13T16:25:51.236"/>
    <p1510:client id="{8A7DBFD1-8985-4594-8CE0-4AFC0C75CE1F}" v="176" dt="2024-02-13T17:21:54.551"/>
    <p1510:client id="{B444B805-0C06-4E75-963C-80102626F231}" v="3635" vWet="3641" dt="2024-02-13T16:26:09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50" autoAdjust="0"/>
    <p:restoredTop sz="94796" autoAdjust="0"/>
  </p:normalViewPr>
  <p:slideViewPr>
    <p:cSldViewPr snapToGrid="0">
      <p:cViewPr varScale="1">
        <p:scale>
          <a:sx n="60" d="100"/>
          <a:sy n="60" d="100"/>
        </p:scale>
        <p:origin x="728" y="36"/>
      </p:cViewPr>
      <p:guideLst>
        <p:guide orient="horz" pos="2544"/>
        <p:guide/>
        <p:guide orient="horz" pos="4566"/>
        <p:guide pos="616"/>
        <p:guide pos="7792"/>
        <p:guide pos="3377"/>
        <p:guide orient="horz" pos="3528"/>
        <p:guide pos="5789"/>
      </p:guideLst>
    </p:cSldViewPr>
  </p:slideViewPr>
  <p:outlineViewPr>
    <p:cViewPr>
      <p:scale>
        <a:sx n="33" d="100"/>
        <a:sy n="33" d="100"/>
      </p:scale>
      <p:origin x="0" y="-370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240" y="3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21" Type="http://schemas.openxmlformats.org/officeDocument/2006/relationships/slide" Target="slides/slide5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685F0F4D-3143-F54F-90D7-A2ABC584E48E}" type="datetimeFigureOut">
              <a:rPr lang="en-US" smtClean="0"/>
              <a:t>2/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7F49EE16-A310-AE4D-9E91-6A244C3B01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925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F133C62B-1BF1-F54A-8DA9-002D51A9B8EA}" type="datetimeFigureOut">
              <a:rPr lang="en-US" smtClean="0"/>
              <a:t>2/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8863" y="533400"/>
            <a:ext cx="4730750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06" tIns="46702" rIns="93406" bIns="467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9" y="3373677"/>
            <a:ext cx="7510780" cy="3196114"/>
          </a:xfrm>
          <a:prstGeom prst="rect">
            <a:avLst/>
          </a:prstGeom>
        </p:spPr>
        <p:txBody>
          <a:bodyPr vert="horz" lIns="93406" tIns="46702" rIns="93406" bIns="467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21F0486C-94EE-7249-8AC8-76A196C667C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950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3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8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6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44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2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728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214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874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380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858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640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1444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0191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170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670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1323623"/>
            <a:ext cx="11658117" cy="5048729"/>
          </a:xfrm>
          <a:prstGeom prst="rect">
            <a:avLst/>
          </a:prstGeom>
        </p:spPr>
        <p:txBody>
          <a:bodyPr anchor="ctr"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2290F2C-BE27-4FCA-A660-C90CC0BA8F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5004" y="6720870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589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40410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4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726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39124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656832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20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9750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524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8" y="6540241"/>
            <a:ext cx="3436477" cy="30362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5357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 </a:t>
            </a:r>
            <a:br>
              <a:rPr lang="en-US" dirty="0"/>
            </a:br>
            <a:r>
              <a:rPr lang="en-US" dirty="0"/>
              <a:t>ENCODE NORMAL BLACK, 50 PT.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8" name="Picture 7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649643"/>
            <a:ext cx="3612444" cy="24506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82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8370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106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843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044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6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0222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6" name="Picture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687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783782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2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7" y="1939213"/>
            <a:ext cx="11640409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26DC03-5128-4F80-81CD-8AA579A24B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9897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4131946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1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286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3664145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104419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2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01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54327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98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4987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220315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EF4F52D-E178-42C6-9597-FF75E0336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4B26974-13BB-4B72-B68E-094B650A0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3A4C5D-08C6-4F99-B6B4-63E7B91AB3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2D7105C-074D-4774-999B-8E6677BD9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47" y="528372"/>
            <a:ext cx="11658117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D3DDB7-D1F0-46A9-9D4F-CAAF6C509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7404" y="6681966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901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6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5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535293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87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576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23100050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952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5658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4961551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8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4" y="300978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3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27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366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2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4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8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4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5"/>
            <a:ext cx="11658118" cy="3202505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60" indent="-243812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02" indent="-243812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26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Conten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0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320612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892554"/>
            <a:ext cx="1177366" cy="1027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B02F48-3E6F-4547-AF06-A81D40B639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1" y="6586003"/>
            <a:ext cx="3381247" cy="442406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C8692A-3266-4835-A694-F786994C32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084392"/>
            <a:ext cx="11481381" cy="5336306"/>
          </a:xfrm>
          <a:prstGeom prst="rect">
            <a:avLst/>
          </a:prstGeom>
        </p:spPr>
        <p:txBody>
          <a:bodyPr/>
          <a:lstStyle>
            <a:lvl1pPr marL="365774" indent="-36577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46" indent="-243850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44" indent="-243850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24138478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4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7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04" indent="-274304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48" indent="-182871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27" indent="-182871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6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3" y="6722973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756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19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12" y="4273162"/>
            <a:ext cx="3248786" cy="12028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4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6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3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Content Slide 3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0822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90" indent="-243818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58" indent="-243818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76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439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3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9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4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11" indent="-274311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71" indent="-182875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68" indent="-182875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5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1" y="6722972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580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2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2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01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540813"/>
            <a:ext cx="3449210" cy="303322"/>
          </a:xfrm>
          <a:prstGeom prst="rect">
            <a:avLst/>
          </a:prstGeom>
        </p:spPr>
      </p:pic>
      <p:pic>
        <p:nvPicPr>
          <p:cNvPr id="13" name="Picture 12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249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8FA5D6A6-37E1-E538-8539-6EF3C7979D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194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7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3" name="Picture 12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44" y="6649643"/>
            <a:ext cx="3612432" cy="245065"/>
          </a:xfrm>
          <a:prstGeom prst="rect">
            <a:avLst/>
          </a:prstGeom>
        </p:spPr>
      </p:pic>
      <p:pic>
        <p:nvPicPr>
          <p:cNvPr id="6" name="Picture 5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83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786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22" name="Pictur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328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3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211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00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A1625C45-CF9F-63CE-E171-708DA9CA0C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696" y="6123184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13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94E4F0D-3A53-BD98-CA84-66EDB32B40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196359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4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70634C4C-C400-FD4F-A934-2CA6F38A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3722" y="6473393"/>
            <a:ext cx="1049532" cy="70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37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7CBA4BA-2AC5-759D-196C-67CA4CAC51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455" y="6718307"/>
            <a:ext cx="685800" cy="4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87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5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88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0F0A494C-4833-D7CA-2848-D19DA1B44C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5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old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2" y="4873174"/>
            <a:ext cx="2271913" cy="198684"/>
          </a:xfrm>
          <a:prstGeom prst="rect">
            <a:avLst/>
          </a:prstGeom>
        </p:spPr>
      </p:pic>
      <p:pic>
        <p:nvPicPr>
          <p:cNvPr id="3" name="Picture 2" descr="Wordmark_center_Purple_HEX.png">
            <a:extLst>
              <a:ext uri="{FF2B5EF4-FFF2-40B4-BE49-F238E27FC236}">
                <a16:creationId xmlns:a16="http://schemas.microsoft.com/office/drawing/2014/main" id="{E83C033D-B55F-DDA9-79B8-893841B071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97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70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502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9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016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291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02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2731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6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14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ACF8C578-5433-9C13-0053-05BD4C8DED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90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13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50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48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5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13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8" y="6599039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0" y="6043210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19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BLANK PAG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18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2" y="6043211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88" y="971114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0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5" y="2187788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88" y="2187788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72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6" y="6043213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92" y="971116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4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9" y="2187789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92" y="2187789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7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3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3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4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0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34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5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endParaRPr lang="en-US"/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F98A7-9ECA-97DA-C8D2-97AADA606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38E92-A7C0-C914-BEB0-444CCBDED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E4F862-BBB7-EA59-8815-E8842B341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EB4288-4359-3F9E-1333-F66CEE7C2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E2649-DC30-3944-7EBC-891D3E074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76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042" y="8670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210436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rgbClr val="7030A0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021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C4B8C-6D02-BB28-7CC5-2C47B035D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AFE5FA-C560-CD6C-BF85-12FEDD159E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3"/>
            <a:ext cx="9753600" cy="1766147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61" indent="0" algn="ctr">
              <a:buNone/>
              <a:defRPr sz="2133"/>
            </a:lvl2pPr>
            <a:lvl3pPr marL="975321" indent="0" algn="ctr">
              <a:buNone/>
              <a:defRPr sz="1920"/>
            </a:lvl3pPr>
            <a:lvl4pPr marL="1462982" indent="0" algn="ctr">
              <a:buNone/>
              <a:defRPr sz="1707"/>
            </a:lvl4pPr>
            <a:lvl5pPr marL="1950641" indent="0" algn="ctr">
              <a:buNone/>
              <a:defRPr sz="1707"/>
            </a:lvl5pPr>
            <a:lvl6pPr marL="2438301" indent="0" algn="ctr">
              <a:buNone/>
              <a:defRPr sz="1707"/>
            </a:lvl6pPr>
            <a:lvl7pPr marL="2925960" indent="0" algn="ctr">
              <a:buNone/>
              <a:defRPr sz="1707"/>
            </a:lvl7pPr>
            <a:lvl8pPr marL="3413621" indent="0" algn="ctr">
              <a:buNone/>
              <a:defRPr sz="1707"/>
            </a:lvl8pPr>
            <a:lvl9pPr marL="390128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EAF085-FF6C-5950-A4B4-DE3FFD895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18566-2962-E0DD-756A-A00BA6FF4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CBD6B-AB27-B609-9948-9E56AF6C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37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3" y="6249611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100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2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5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1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5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2" y="3009782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0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06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21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832" y="7165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851" y="4721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C1EFB-D411-43C8-A17F-A6FC52D98D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9120" y="4041987"/>
            <a:ext cx="975360" cy="975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851465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36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659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6" y="6599038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7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902" y="6599041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9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7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67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4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9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1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0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89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540" indent="-243839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29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3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399" y="6586003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9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53" indent="-365753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75" indent="-24383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517" indent="-24383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6" y="1797863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5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81513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44497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486" indent="-243833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2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9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2/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94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405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70" y="113050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70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45" indent="-243831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463" indent="-243831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8" y="1797866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51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2251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60" indent="-243813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07" indent="-243813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38102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48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01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270" y="6730163"/>
            <a:ext cx="2711863" cy="3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89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0000"/>
              </a:lnSpc>
              <a:defRPr sz="1493"/>
            </a:lvl1pPr>
            <a:lvl2pPr marL="840453" indent="-323250">
              <a:lnSpc>
                <a:spcPct val="90000"/>
              </a:lnSpc>
              <a:buFont typeface="Lucida Grande"/>
              <a:buChar char="–"/>
              <a:defRPr sz="1387"/>
            </a:lvl2pPr>
            <a:lvl3pPr>
              <a:lnSpc>
                <a:spcPct val="90000"/>
              </a:lnSpc>
              <a:defRPr sz="1387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7445" y="529382"/>
            <a:ext cx="11843766" cy="450001"/>
          </a:xfrm>
        </p:spPr>
        <p:txBody>
          <a:bodyPr/>
          <a:lstStyle>
            <a:lvl1pPr marL="0" indent="0">
              <a:buNone/>
              <a:defRPr sz="154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80518" y="181230"/>
            <a:ext cx="11843766" cy="340956"/>
          </a:xfrm>
        </p:spPr>
        <p:txBody>
          <a:bodyPr/>
          <a:lstStyle>
            <a:lvl1pPr>
              <a:defRPr sz="2322">
                <a:solidFill>
                  <a:srgbClr val="0A21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DCD33E-C365-2044-8C4C-AAE8BB2A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ISC - Transition to Operations </a:t>
            </a:r>
          </a:p>
        </p:txBody>
      </p:sp>
    </p:spTree>
    <p:extLst>
      <p:ext uri="{BB962C8B-B14F-4D97-AF65-F5344CB8AC3E}">
        <p14:creationId xmlns:p14="http://schemas.microsoft.com/office/powerpoint/2010/main" val="162839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4189">
          <p15:clr>
            <a:srgbClr val="F26B43"/>
          </p15:clr>
        </p15:guide>
        <p15:guide id="3" pos="8271">
          <p15:clr>
            <a:srgbClr val="F26B43"/>
          </p15:clr>
        </p15:guide>
        <p15:guide id="4" pos="4279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530254"/>
            <a:ext cx="11704320" cy="616030"/>
          </a:xfrm>
          <a:prstGeom prst="rect">
            <a:avLst/>
          </a:prstGeom>
        </p:spPr>
        <p:txBody>
          <a:bodyPr anchor="ctr"/>
          <a:lstStyle>
            <a:lvl1pPr algn="l">
              <a:defRPr sz="398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4D6F7B5-8F00-4C4C-9129-354F4A9CA9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BA265A-1CAA-4A31-867A-CFB64110CD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9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327575"/>
            <a:ext cx="11658118" cy="5052905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1pPr>
            <a:lvl2pPr>
              <a:defRPr sz="213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2pPr>
            <a:lvl3pPr marL="1219150" indent="-243831">
              <a:buSzPct val="100000"/>
              <a:buFont typeface="Lucida Grande"/>
              <a:buChar char="&gt;"/>
              <a:defRPr sz="192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3pPr>
            <a:lvl4pPr>
              <a:defRPr sz="1707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4pPr>
            <a:lvl5pPr marL="2194472" indent="-243831">
              <a:buFont typeface="Lucida Grande"/>
              <a:buChar char="&gt;"/>
              <a:defRPr sz="149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5pPr>
          </a:lstStyle>
          <a:p>
            <a:pPr lvl="0"/>
            <a:r>
              <a:rPr lang="en-US"/>
              <a:t>Content here (Calibri Light, 24 pt.)</a:t>
            </a:r>
          </a:p>
          <a:p>
            <a:pPr lvl="1"/>
            <a:r>
              <a:rPr lang="en-US"/>
              <a:t>Second level (Calibri Light, 20)</a:t>
            </a:r>
          </a:p>
          <a:p>
            <a:pPr lvl="2"/>
            <a:r>
              <a:rPr lang="en-US"/>
              <a:t>Third level (Calibri Light, 18)</a:t>
            </a:r>
          </a:p>
          <a:p>
            <a:pPr lvl="3"/>
            <a:r>
              <a:rPr lang="en-US"/>
              <a:t>Fourth level (Calibri Light, 16)</a:t>
            </a:r>
          </a:p>
          <a:p>
            <a:pPr lvl="4"/>
            <a:r>
              <a:rPr lang="en-US"/>
              <a:t>Fifth level (Calibri Light, 14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509" y="939637"/>
            <a:ext cx="1569822" cy="102787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396277"/>
            <a:ext cx="11640408" cy="497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(ARIAL BLACK, 30 PT.)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199616" y="6780109"/>
            <a:ext cx="3034453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19F11-7C95-0E48-8438-1F242063E0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728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8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1D9F59-496A-4944-8002-A750CA4BF2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2" y="624961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55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117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07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475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5825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0449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2/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60979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23882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963293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999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360" y="741274"/>
            <a:ext cx="11054080" cy="633984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840" spc="-80" dirty="0">
                <a:latin typeface="+mj-lt"/>
              </a:defRPr>
            </a:lvl1pPr>
          </a:lstStyle>
          <a:p>
            <a:pPr lvl="0" defTabSz="731543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75702" y="1443533"/>
            <a:ext cx="11053739" cy="5071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80"/>
            </a:lvl1pPr>
          </a:lstStyle>
          <a:p>
            <a:pPr marL="243848" lvl="0" indent="-24384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75969" y="497433"/>
            <a:ext cx="3579571" cy="21674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60" b="1" kern="0" cap="all" spc="267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43848" lvl="0" indent="-243848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4745956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4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1914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1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466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876" y="1940486"/>
            <a:ext cx="1569822" cy="1370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207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E83EAACA-91C2-475E-8300-A03026DB04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49" y="6638167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66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12984293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20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166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3" y="6342244"/>
            <a:ext cx="1950720" cy="985114"/>
          </a:xfrm>
          <a:prstGeom prst="rect">
            <a:avLst/>
          </a:prstGeom>
        </p:spPr>
      </p:pic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6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6" b="-577"/>
          <a:stretch/>
        </p:blipFill>
        <p:spPr>
          <a:xfrm>
            <a:off x="1126458" y="6668801"/>
            <a:ext cx="3701859" cy="45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3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33006E"/>
                </a:solidFill>
                <a:latin typeface="Encode Sans Normal"/>
                <a:cs typeface="Encode Sans Norm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0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50" b="0" i="0">
                <a:solidFill>
                  <a:srgbClr val="8F88A3"/>
                </a:solidFill>
                <a:latin typeface="Calibri"/>
                <a:cs typeface="Calibri"/>
              </a:defRPr>
            </a:lvl1pPr>
          </a:lstStyle>
          <a:p>
            <a:pPr marL="25401">
              <a:lnSpc>
                <a:spcPts val="1315"/>
              </a:lnSpc>
            </a:pPr>
            <a:fld id="{81D60167-4931-47E6-BA6A-407CBD079E47}" type="slidenum">
              <a:rPr lang="en-US" spc="15" smtClean="0"/>
              <a:pPr marL="25401">
                <a:lnSpc>
                  <a:spcPts val="1315"/>
                </a:lnSpc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2736933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79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3320" y="6777850"/>
            <a:ext cx="3612444" cy="284480"/>
          </a:xfrm>
          <a:prstGeom prst="rect">
            <a:avLst/>
          </a:prstGeom>
        </p:spPr>
      </p:pic>
      <p:pic>
        <p:nvPicPr>
          <p:cNvPr id="5" name="Picture 4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91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9407"/>
            <a:ext cx="11640408" cy="10650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405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469518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487226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5" name="Pictur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603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56" y="6919954"/>
            <a:ext cx="3449308" cy="174266"/>
          </a:xfrm>
          <a:prstGeom prst="rect">
            <a:avLst/>
          </a:prstGeom>
        </p:spPr>
      </p:pic>
      <p:pic>
        <p:nvPicPr>
          <p:cNvPr id="8" name="Picture 7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91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0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6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7" r:id="rId6"/>
    <p:sldLayoutId id="2147484469" r:id="rId7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86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3" r:id="rId2"/>
    <p:sldLayoutId id="2147483664" r:id="rId3"/>
    <p:sldLayoutId id="2147483665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073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10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9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  <p:sldLayoutId id="2147485056" r:id="rId14"/>
    <p:sldLayoutId id="2147485057" r:id="rId15"/>
    <p:sldLayoutId id="2147485058" r:id="rId16"/>
    <p:sldLayoutId id="2147485059" r:id="rId17"/>
    <p:sldLayoutId id="2147485060" r:id="rId18"/>
    <p:sldLayoutId id="2147485061" r:id="rId19"/>
    <p:sldLayoutId id="2147485062" r:id="rId20"/>
    <p:sldLayoutId id="2147485063" r:id="rId21"/>
    <p:sldLayoutId id="2147485064" r:id="rId22"/>
    <p:sldLayoutId id="2147485065" r:id="rId23"/>
    <p:sldLayoutId id="2147485066" r:id="rId24"/>
    <p:sldLayoutId id="2147485067" r:id="rId25"/>
    <p:sldLayoutId id="2147485068" r:id="rId26"/>
    <p:sldLayoutId id="2147485069" r:id="rId27"/>
    <p:sldLayoutId id="2147485070" r:id="rId28"/>
    <p:sldLayoutId id="2147485071" r:id="rId29"/>
    <p:sldLayoutId id="2147485072" r:id="rId30"/>
    <p:sldLayoutId id="2147485073" r:id="rId31"/>
  </p:sldLayoutIdLst>
  <p:hf hdr="0" ftr="0" dt="0"/>
  <p:txStyles>
    <p:titleStyle>
      <a:lvl1pPr algn="ctr" defTabSz="48763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27" indent="-365727" algn="l" defTabSz="487637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409" indent="-304773" algn="l" defTabSz="487637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0" indent="-243818" algn="l" defTabSz="487637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724" indent="-243818" algn="l" defTabSz="487637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358" indent="-243818" algn="l" defTabSz="487637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1993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63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264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90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3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271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0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4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17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1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44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083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38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70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955" r:id="rId7"/>
  </p:sldLayoutIdLst>
  <p:txStyles>
    <p:titleStyle>
      <a:lvl1pPr algn="ctr" defTabSz="65024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84" indent="-487684" algn="l" defTabSz="650244" rtl="0" eaLnBrk="1" latinLnBrk="0" hangingPunct="1">
        <a:spcBef>
          <a:spcPct val="20000"/>
        </a:spcBef>
        <a:buFont typeface="Arial"/>
        <a:buChar char="•"/>
        <a:defRPr sz="4552" kern="1200">
          <a:solidFill>
            <a:schemeClr val="tx1"/>
          </a:solidFill>
          <a:latin typeface="+mn-lt"/>
          <a:ea typeface="+mn-ea"/>
          <a:cs typeface="+mn-cs"/>
        </a:defRPr>
      </a:lvl1pPr>
      <a:lvl2pPr marL="1056646" indent="-406402" algn="l" defTabSz="65024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610" indent="-325122" algn="l" defTabSz="65024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55" indent="-325122" algn="l" defTabSz="650244" rtl="0" eaLnBrk="1" latinLnBrk="0" hangingPunct="1">
        <a:spcBef>
          <a:spcPct val="20000"/>
        </a:spcBef>
        <a:buFont typeface="Arial"/>
        <a:buChar char="–"/>
        <a:defRPr sz="2845" kern="1200">
          <a:solidFill>
            <a:schemeClr val="tx1"/>
          </a:solidFill>
          <a:latin typeface="+mn-lt"/>
          <a:ea typeface="+mn-ea"/>
          <a:cs typeface="+mn-cs"/>
        </a:defRPr>
      </a:lvl4pPr>
      <a:lvl5pPr marL="2926098" indent="-325122" algn="l" defTabSz="650244" rtl="0" eaLnBrk="1" latinLnBrk="0" hangingPunct="1">
        <a:spcBef>
          <a:spcPct val="20000"/>
        </a:spcBef>
        <a:buFont typeface="Arial"/>
        <a:buChar char="»"/>
        <a:defRPr sz="2845" kern="1200">
          <a:solidFill>
            <a:schemeClr val="tx1"/>
          </a:solidFill>
          <a:latin typeface="+mn-lt"/>
          <a:ea typeface="+mn-ea"/>
          <a:cs typeface="+mn-cs"/>
        </a:defRPr>
      </a:lvl5pPr>
      <a:lvl6pPr marL="3576342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6pPr>
      <a:lvl7pPr marL="4226586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7pPr>
      <a:lvl8pPr marL="4876831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8pPr>
      <a:lvl9pPr marL="5527074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44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89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73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76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221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465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708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95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4951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7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4" r:id="rId2"/>
  </p:sldLayoutIdLs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4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5" r:id="rId8"/>
    <p:sldLayoutId id="2147484966" r:id="rId9"/>
    <p:sldLayoutId id="2147485034" r:id="rId10"/>
    <p:sldLayoutId id="2147485035" r:id="rId11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1" r:id="rId3"/>
    <p:sldLayoutId id="2147484972" r:id="rId4"/>
    <p:sldLayoutId id="2147484973" r:id="rId5"/>
    <p:sldLayoutId id="2147484974" r:id="rId6"/>
    <p:sldLayoutId id="2147484975" r:id="rId7"/>
    <p:sldLayoutId id="2147484976" r:id="rId8"/>
    <p:sldLayoutId id="2147484977" r:id="rId9"/>
    <p:sldLayoutId id="2147484978" r:id="rId10"/>
    <p:sldLayoutId id="2147484979" r:id="rId11"/>
    <p:sldLayoutId id="2147484980" r:id="rId12"/>
    <p:sldLayoutId id="2147484981" r:id="rId13"/>
    <p:sldLayoutId id="2147484982" r:id="rId14"/>
    <p:sldLayoutId id="2147484983" r:id="rId15"/>
    <p:sldLayoutId id="2147484984" r:id="rId16"/>
    <p:sldLayoutId id="2147484985" r:id="rId17"/>
    <p:sldLayoutId id="2147484986" r:id="rId18"/>
    <p:sldLayoutId id="2147484987" r:id="rId19"/>
    <p:sldLayoutId id="214748498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50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  <p:sldLayoutId id="2147484991" r:id="rId2"/>
    <p:sldLayoutId id="2147484992" r:id="rId3"/>
    <p:sldLayoutId id="2147484993" r:id="rId4"/>
    <p:sldLayoutId id="2147484994" r:id="rId5"/>
    <p:sldLayoutId id="2147484995" r:id="rId6"/>
    <p:sldLayoutId id="2147484996" r:id="rId7"/>
    <p:sldLayoutId id="2147484997" r:id="rId8"/>
    <p:sldLayoutId id="2147484998" r:id="rId9"/>
    <p:sldLayoutId id="2147484999" r:id="rId10"/>
    <p:sldLayoutId id="2147485000" r:id="rId11"/>
    <p:sldLayoutId id="2147485001" r:id="rId12"/>
    <p:sldLayoutId id="2147485002" r:id="rId13"/>
    <p:sldLayoutId id="2147485003" r:id="rId14"/>
    <p:sldLayoutId id="2147485004" r:id="rId15"/>
    <p:sldLayoutId id="2147485005" r:id="rId16"/>
    <p:sldLayoutId id="2147485006" r:id="rId17"/>
    <p:sldLayoutId id="2147485007" r:id="rId18"/>
    <p:sldLayoutId id="2147485008" r:id="rId19"/>
    <p:sldLayoutId id="2147485009" r:id="rId20"/>
    <p:sldLayoutId id="2147485010" r:id="rId21"/>
    <p:sldLayoutId id="2147485011" r:id="rId22"/>
    <p:sldLayoutId id="2147485012" r:id="rId23"/>
    <p:sldLayoutId id="2147485013" r:id="rId24"/>
    <p:sldLayoutId id="2147485014" r:id="rId25"/>
    <p:sldLayoutId id="214748501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54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5" r:id="rId8"/>
    <p:sldLayoutId id="2147485026" r:id="rId9"/>
    <p:sldLayoutId id="2147485027" r:id="rId10"/>
    <p:sldLayoutId id="2147485028" r:id="rId11"/>
    <p:sldLayoutId id="2147485029" r:id="rId12"/>
    <p:sldLayoutId id="2147485030" r:id="rId13"/>
    <p:sldLayoutId id="2147485031" r:id="rId14"/>
    <p:sldLayoutId id="2147485032" r:id="rId15"/>
    <p:sldLayoutId id="2147485033" r:id="rId16"/>
  </p:sldLayoutIdLst>
  <p:hf sldNum="0" hdr="0" ftr="0" dt="0"/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703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finance.uw.edu/fr/node/87" TargetMode="Externa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6" y="917323"/>
            <a:ext cx="11980588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Shared Environment accounting forum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sz="2800" b="0" dirty="0">
                <a:solidFill>
                  <a:schemeClr val="tx2"/>
                </a:solidFill>
                <a:latin typeface="Encode Sans Normal Black"/>
              </a:rPr>
              <a:t>February 13, 2024</a:t>
            </a:r>
          </a:p>
        </p:txBody>
      </p:sp>
    </p:spTree>
    <p:extLst>
      <p:ext uri="{BB962C8B-B14F-4D97-AF65-F5344CB8AC3E}">
        <p14:creationId xmlns:p14="http://schemas.microsoft.com/office/powerpoint/2010/main" val="2579873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Net position roll-forward – net position example</a:t>
            </a:r>
            <a:r>
              <a:rPr lang="en-US" b="1"/>
              <a:t> </a:t>
            </a:r>
            <a:r>
              <a:rPr lang="en-US" b="1" dirty="0"/>
              <a:t>2 	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9BC74A-F677-7D02-6212-94EFC8D1E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773921"/>
              </p:ext>
            </p:extLst>
          </p:nvPr>
        </p:nvGraphicFramePr>
        <p:xfrm>
          <a:off x="366878" y="1727653"/>
          <a:ext cx="12271044" cy="1152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00">
                  <a:extLst>
                    <a:ext uri="{9D8B030D-6E8A-4147-A177-3AD203B41FA5}">
                      <a16:colId xmlns:a16="http://schemas.microsoft.com/office/drawing/2014/main" val="4183641105"/>
                    </a:ext>
                  </a:extLst>
                </a:gridCol>
                <a:gridCol w="1813084">
                  <a:extLst>
                    <a:ext uri="{9D8B030D-6E8A-4147-A177-3AD203B41FA5}">
                      <a16:colId xmlns:a16="http://schemas.microsoft.com/office/drawing/2014/main" val="231544861"/>
                    </a:ext>
                  </a:extLst>
                </a:gridCol>
                <a:gridCol w="1426865">
                  <a:extLst>
                    <a:ext uri="{9D8B030D-6E8A-4147-A177-3AD203B41FA5}">
                      <a16:colId xmlns:a16="http://schemas.microsoft.com/office/drawing/2014/main" val="2953487230"/>
                    </a:ext>
                  </a:extLst>
                </a:gridCol>
                <a:gridCol w="1259598">
                  <a:extLst>
                    <a:ext uri="{9D8B030D-6E8A-4147-A177-3AD203B41FA5}">
                      <a16:colId xmlns:a16="http://schemas.microsoft.com/office/drawing/2014/main" val="3894698797"/>
                    </a:ext>
                  </a:extLst>
                </a:gridCol>
                <a:gridCol w="1025532">
                  <a:extLst>
                    <a:ext uri="{9D8B030D-6E8A-4147-A177-3AD203B41FA5}">
                      <a16:colId xmlns:a16="http://schemas.microsoft.com/office/drawing/2014/main" val="1547837648"/>
                    </a:ext>
                  </a:extLst>
                </a:gridCol>
                <a:gridCol w="1308323">
                  <a:extLst>
                    <a:ext uri="{9D8B030D-6E8A-4147-A177-3AD203B41FA5}">
                      <a16:colId xmlns:a16="http://schemas.microsoft.com/office/drawing/2014/main" val="383007418"/>
                    </a:ext>
                  </a:extLst>
                </a:gridCol>
                <a:gridCol w="1137920">
                  <a:extLst>
                    <a:ext uri="{9D8B030D-6E8A-4147-A177-3AD203B41FA5}">
                      <a16:colId xmlns:a16="http://schemas.microsoft.com/office/drawing/2014/main" val="2969707908"/>
                    </a:ext>
                  </a:extLst>
                </a:gridCol>
                <a:gridCol w="1512722">
                  <a:extLst>
                    <a:ext uri="{9D8B030D-6E8A-4147-A177-3AD203B41FA5}">
                      <a16:colId xmlns:a16="http://schemas.microsoft.com/office/drawing/2014/main" val="25512354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d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tiv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584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40002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F444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D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S222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5,0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068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0002 Expe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F444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D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22266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1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78018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C87A882-BC6B-173F-0C8F-60757F709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281641"/>
              </p:ext>
            </p:extLst>
          </p:nvPr>
        </p:nvGraphicFramePr>
        <p:xfrm>
          <a:off x="366878" y="3647892"/>
          <a:ext cx="12271044" cy="1152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00">
                  <a:extLst>
                    <a:ext uri="{9D8B030D-6E8A-4147-A177-3AD203B41FA5}">
                      <a16:colId xmlns:a16="http://schemas.microsoft.com/office/drawing/2014/main" val="4183641105"/>
                    </a:ext>
                  </a:extLst>
                </a:gridCol>
                <a:gridCol w="1813084">
                  <a:extLst>
                    <a:ext uri="{9D8B030D-6E8A-4147-A177-3AD203B41FA5}">
                      <a16:colId xmlns:a16="http://schemas.microsoft.com/office/drawing/2014/main" val="231544861"/>
                    </a:ext>
                  </a:extLst>
                </a:gridCol>
                <a:gridCol w="1426865">
                  <a:extLst>
                    <a:ext uri="{9D8B030D-6E8A-4147-A177-3AD203B41FA5}">
                      <a16:colId xmlns:a16="http://schemas.microsoft.com/office/drawing/2014/main" val="2953487230"/>
                    </a:ext>
                  </a:extLst>
                </a:gridCol>
                <a:gridCol w="1259598">
                  <a:extLst>
                    <a:ext uri="{9D8B030D-6E8A-4147-A177-3AD203B41FA5}">
                      <a16:colId xmlns:a16="http://schemas.microsoft.com/office/drawing/2014/main" val="3894698797"/>
                    </a:ext>
                  </a:extLst>
                </a:gridCol>
                <a:gridCol w="1025532">
                  <a:extLst>
                    <a:ext uri="{9D8B030D-6E8A-4147-A177-3AD203B41FA5}">
                      <a16:colId xmlns:a16="http://schemas.microsoft.com/office/drawing/2014/main" val="1547837648"/>
                    </a:ext>
                  </a:extLst>
                </a:gridCol>
                <a:gridCol w="1237203">
                  <a:extLst>
                    <a:ext uri="{9D8B030D-6E8A-4147-A177-3AD203B41FA5}">
                      <a16:colId xmlns:a16="http://schemas.microsoft.com/office/drawing/2014/main" val="383007418"/>
                    </a:ext>
                  </a:extLst>
                </a:gridCol>
                <a:gridCol w="1239520">
                  <a:extLst>
                    <a:ext uri="{9D8B030D-6E8A-4147-A177-3AD203B41FA5}">
                      <a16:colId xmlns:a16="http://schemas.microsoft.com/office/drawing/2014/main" val="2969707908"/>
                    </a:ext>
                  </a:extLst>
                </a:gridCol>
                <a:gridCol w="1482242">
                  <a:extLst>
                    <a:ext uri="{9D8B030D-6E8A-4147-A177-3AD203B41FA5}">
                      <a16:colId xmlns:a16="http://schemas.microsoft.com/office/drawing/2014/main" val="25512354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d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584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0100 NP prior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F4444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S222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5,0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068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0100 NP prior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F444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D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22266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1,0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78018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16F6775-564A-C2F2-2744-F4CD359D2666}"/>
              </a:ext>
            </a:extLst>
          </p:cNvPr>
          <p:cNvSpPr txBox="1"/>
          <p:nvPr/>
        </p:nvSpPr>
        <p:spPr>
          <a:xfrm>
            <a:off x="4377842" y="3078480"/>
            <a:ext cx="3169920" cy="3847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ear End Roll Forward Proc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DDB317-C856-C7CA-6D6D-BA2D90102CD8}"/>
              </a:ext>
            </a:extLst>
          </p:cNvPr>
          <p:cNvSpPr txBox="1"/>
          <p:nvPr/>
        </p:nvSpPr>
        <p:spPr>
          <a:xfrm>
            <a:off x="5119522" y="1071992"/>
            <a:ext cx="1616558" cy="3847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early Activ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48405BF-310E-8791-0D3D-33639A6941CD}"/>
              </a:ext>
            </a:extLst>
          </p:cNvPr>
          <p:cNvSpPr txBox="1"/>
          <p:nvPr/>
        </p:nvSpPr>
        <p:spPr>
          <a:xfrm>
            <a:off x="1144096" y="5076965"/>
            <a:ext cx="10790763" cy="18466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/>
              <a:t>Note: This can </a:t>
            </a:r>
            <a:r>
              <a:rPr lang="en-US"/>
              <a:t>be cleaned </a:t>
            </a:r>
            <a:r>
              <a:rPr lang="en-US" dirty="0"/>
              <a:t>up via a transfer </a:t>
            </a:r>
            <a:r>
              <a:rPr lang="en-US"/>
              <a:t>of </a:t>
            </a:r>
            <a:r>
              <a:rPr lang="en-US" dirty="0"/>
              <a:t>expense, $1,000</a:t>
            </a:r>
            <a:endParaRPr lang="en-US"/>
          </a:p>
          <a:p>
            <a:r>
              <a:rPr lang="en-US" dirty="0"/>
              <a:t>From: </a:t>
            </a:r>
            <a:r>
              <a:rPr lang="en-US"/>
              <a:t>CC111111</a:t>
            </a:r>
            <a:r>
              <a:rPr lang="en-US" dirty="0"/>
              <a:t> </a:t>
            </a:r>
            <a:r>
              <a:rPr lang="en-US"/>
              <a:t>– GF444444 – FD 207 </a:t>
            </a:r>
            <a:r>
              <a:rPr lang="en-US" dirty="0"/>
              <a:t>– RS222666</a:t>
            </a:r>
          </a:p>
          <a:p>
            <a:r>
              <a:rPr lang="en-US"/>
              <a:t>To:</a:t>
            </a:r>
            <a:r>
              <a:rPr lang="en-US" dirty="0"/>
              <a:t>     </a:t>
            </a:r>
            <a:r>
              <a:rPr lang="en-US"/>
              <a:t> CC111111 – GF444444 – FD207 </a:t>
            </a:r>
            <a:r>
              <a:rPr lang="en-US" dirty="0"/>
              <a:t>– </a:t>
            </a:r>
            <a:r>
              <a:rPr lang="en-US"/>
              <a:t>RS222444</a:t>
            </a:r>
            <a:endParaRPr lang="en-US" dirty="0"/>
          </a:p>
          <a:p>
            <a:endParaRPr lang="en-US" dirty="0"/>
          </a:p>
          <a:p>
            <a:r>
              <a:rPr lang="en-US"/>
              <a:t>Or</a:t>
            </a:r>
            <a:r>
              <a:rPr lang="en-US" dirty="0"/>
              <a:t> via revenue transfer in </a:t>
            </a:r>
            <a:r>
              <a:rPr lang="en-US"/>
              <a:t>the opposite direction</a:t>
            </a:r>
            <a:r>
              <a:rPr lang="en-US" dirty="0"/>
              <a:t>, depending on the correct Resource usage</a:t>
            </a:r>
          </a:p>
          <a:p>
            <a:r>
              <a:rPr lang="en-US">
                <a:cs typeface="Calibri"/>
              </a:rPr>
              <a:t>**Also, inactive retained earnings </a:t>
            </a:r>
            <a:r>
              <a:rPr lang="en-US" err="1">
                <a:cs typeface="Calibri"/>
              </a:rPr>
              <a:t>worktags</a:t>
            </a:r>
            <a:r>
              <a:rPr lang="en-US">
                <a:cs typeface="Calibri"/>
              </a:rPr>
              <a:t>, they will continue to roll forward even though they are inactive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8026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SE Accounting Forum Web Page – </a:t>
            </a:r>
            <a:br>
              <a:rPr lang="en-US" sz="5400" b="1" dirty="0"/>
            </a:br>
            <a:r>
              <a:rPr lang="en-US" sz="5400" b="1" dirty="0"/>
              <a:t>Decks &amp; Recordings</a:t>
            </a:r>
            <a:br>
              <a:rPr lang="en-US" sz="5400" b="1" dirty="0"/>
            </a:br>
            <a:r>
              <a:rPr lang="en-US" sz="4400" b="1" dirty="0">
                <a:hlinkClick r:id="rId2"/>
              </a:rPr>
              <a:t>https://finance.uw.edu/fr/node/87</a:t>
            </a:r>
            <a:br>
              <a:rPr lang="en-US" sz="5400" b="1" dirty="0"/>
            </a:br>
            <a:r>
              <a:rPr lang="en-US" sz="2800" b="1" dirty="0"/>
              <a:t>Finance&gt; Financial Reporting&gt; Shared Environment Accounting Forum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600514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5" y="917323"/>
            <a:ext cx="12120211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Reference documents –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endParaRPr lang="en-US" sz="2800" b="0" dirty="0">
              <a:solidFill>
                <a:schemeClr val="tx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42024246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Future 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741028"/>
              </p:ext>
            </p:extLst>
          </p:nvPr>
        </p:nvGraphicFramePr>
        <p:xfrm>
          <a:off x="532343" y="1057058"/>
          <a:ext cx="11680017" cy="380852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12482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118539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7113319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1935677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608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ntative Date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1069584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45745238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409391359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5407604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2371982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387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3605687"/>
              </p:ext>
            </p:extLst>
          </p:nvPr>
        </p:nvGraphicFramePr>
        <p:xfrm>
          <a:off x="631602" y="1343453"/>
          <a:ext cx="12054587" cy="5128467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28917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356623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6690114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2478933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9869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ead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73788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Fiscal Year Close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How to prepare?  What does the year end check list look like?  How does June close?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890265012"/>
                  </a:ext>
                </a:extLst>
              </a:tr>
              <a:tr h="97536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Data Integrity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Data/transaction issues – identifying and tracking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Brainstorm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Data cleanup effort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2220405771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Net Position 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oll-forward process at year end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etained earnings worktags 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752402044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/>
                        <a:t>New Page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Stored Decks &amp; Recording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Dawn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90952401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r>
                        <a:rPr lang="en-US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ture Topic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eceipt Accruals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Encumbrance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32339573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711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Data Integrity Issues</a:t>
            </a:r>
          </a:p>
        </p:txBody>
      </p:sp>
    </p:spTree>
    <p:extLst>
      <p:ext uri="{BB962C8B-B14F-4D97-AF65-F5344CB8AC3E}">
        <p14:creationId xmlns:p14="http://schemas.microsoft.com/office/powerpoint/2010/main" val="1085321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Data Integrity Issues – types of impacts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Financial Reporting - audit issues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Management Reporting – running the business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Lost revenue – expenses not recorded are not billable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Compliance – internal and external business rules disallow coding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endParaRPr lang="en-US" sz="2800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</p:spTree>
    <p:extLst>
      <p:ext uri="{BB962C8B-B14F-4D97-AF65-F5344CB8AC3E}">
        <p14:creationId xmlns:p14="http://schemas.microsoft.com/office/powerpoint/2010/main" val="383042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Data Integrity Issues </a:t>
            </a:r>
            <a:r>
              <a:rPr lang="en-US" b="1"/>
              <a:t>- examples</a:t>
            </a:r>
            <a:endParaRPr lang="en-US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FD999 payroll default posting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Accounting Treatment of Program Income</a:t>
            </a:r>
          </a:p>
          <a:p>
            <a:pPr marL="34290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Revenue Category Usage (…contract revenue)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Spend Category Usage (… discounts taken, used on a supplier invoice, possibly to apply a credit)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Ledger Account Usage (… 60XXX capital outlay used with ISDs)</a:t>
            </a:r>
          </a:p>
          <a:p>
            <a:pPr marL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F&amp;A posted to non-grant resource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Journal lines with missing balancing unit R1459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Journals hitting special book codes, in error</a:t>
            </a:r>
          </a:p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2800" dirty="0"/>
              <a:t>Fund-Resource combinations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/>
              <a:t>Transfers crossing resource</a:t>
            </a:r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</p:spTree>
    <p:extLst>
      <p:ext uri="{BB962C8B-B14F-4D97-AF65-F5344CB8AC3E}">
        <p14:creationId xmlns:p14="http://schemas.microsoft.com/office/powerpoint/2010/main" val="37497271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Data Integrity Issues – clean up efforts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/>
              <a:t>Make best use of </a:t>
            </a:r>
            <a:r>
              <a:rPr lang="en-US" sz="2800" dirty="0"/>
              <a:t>resources (who?)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Make </a:t>
            </a:r>
            <a:r>
              <a:rPr lang="en-US" sz="2800"/>
              <a:t>instructions clear (how</a:t>
            </a:r>
            <a:r>
              <a:rPr lang="en-US" sz="2800" dirty="0"/>
              <a:t>?)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Make the impact clear (why?)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Make timelines clear (when?)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endParaRPr lang="en-US" sz="2800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</p:spTree>
    <p:extLst>
      <p:ext uri="{BB962C8B-B14F-4D97-AF65-F5344CB8AC3E}">
        <p14:creationId xmlns:p14="http://schemas.microsoft.com/office/powerpoint/2010/main" val="2713077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Net Position</a:t>
            </a:r>
          </a:p>
        </p:txBody>
      </p:sp>
    </p:spTree>
    <p:extLst>
      <p:ext uri="{BB962C8B-B14F-4D97-AF65-F5344CB8AC3E}">
        <p14:creationId xmlns:p14="http://schemas.microsoft.com/office/powerpoint/2010/main" val="3768974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Net position roll-forward – year end process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Net position ledgers</a:t>
            </a:r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30000 Net position current year</a:t>
            </a:r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30100 Net position prior year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During the year:</a:t>
            </a:r>
          </a:p>
          <a:p>
            <a:pPr marL="1196368" lvl="2" indent="-3429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Revenues - expenses </a:t>
            </a:r>
            <a:r>
              <a:rPr lang="en-US" sz="2587"/>
              <a:t>= 30000 Net </a:t>
            </a:r>
            <a:r>
              <a:rPr lang="en-US" sz="2587" dirty="0"/>
              <a:t>position current year </a:t>
            </a:r>
          </a:p>
          <a:p>
            <a:pPr marL="883920" lvl="1" indent="-4572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At year End:</a:t>
            </a:r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374"/>
              <a:t>Net </a:t>
            </a:r>
            <a:r>
              <a:rPr lang="en-US" sz="2374" dirty="0"/>
              <a:t>position prior year + Revenue – Expenses = Roll </a:t>
            </a:r>
            <a:r>
              <a:rPr lang="en-US" sz="2374"/>
              <a:t>forward amount</a:t>
            </a:r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374" dirty="0"/>
              <a:t>Rolled forward amount posts to 30100 Net position prior year</a:t>
            </a:r>
            <a:endParaRPr lang="en-US" sz="2137" dirty="0"/>
          </a:p>
        </p:txBody>
      </p:sp>
    </p:spTree>
    <p:extLst>
      <p:ext uri="{BB962C8B-B14F-4D97-AF65-F5344CB8AC3E}">
        <p14:creationId xmlns:p14="http://schemas.microsoft.com/office/powerpoint/2010/main" val="3240072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Net </a:t>
            </a:r>
            <a:r>
              <a:rPr lang="en-US" b="1"/>
              <a:t>position roll-forward </a:t>
            </a:r>
            <a:r>
              <a:rPr lang="en-US" b="1" dirty="0"/>
              <a:t>– net </a:t>
            </a:r>
            <a:r>
              <a:rPr lang="en-US" b="1"/>
              <a:t>position example</a:t>
            </a:r>
            <a:r>
              <a:rPr lang="en-US" b="1" dirty="0"/>
              <a:t>	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614E730-8615-CBAF-4313-56C58343C2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124307"/>
              </p:ext>
            </p:extLst>
          </p:nvPr>
        </p:nvGraphicFramePr>
        <p:xfrm>
          <a:off x="366878" y="1641404"/>
          <a:ext cx="12271044" cy="1536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00">
                  <a:extLst>
                    <a:ext uri="{9D8B030D-6E8A-4147-A177-3AD203B41FA5}">
                      <a16:colId xmlns:a16="http://schemas.microsoft.com/office/drawing/2014/main" val="4183641105"/>
                    </a:ext>
                  </a:extLst>
                </a:gridCol>
                <a:gridCol w="1813084">
                  <a:extLst>
                    <a:ext uri="{9D8B030D-6E8A-4147-A177-3AD203B41FA5}">
                      <a16:colId xmlns:a16="http://schemas.microsoft.com/office/drawing/2014/main" val="231544861"/>
                    </a:ext>
                  </a:extLst>
                </a:gridCol>
                <a:gridCol w="1426865">
                  <a:extLst>
                    <a:ext uri="{9D8B030D-6E8A-4147-A177-3AD203B41FA5}">
                      <a16:colId xmlns:a16="http://schemas.microsoft.com/office/drawing/2014/main" val="2953487230"/>
                    </a:ext>
                  </a:extLst>
                </a:gridCol>
                <a:gridCol w="1238832">
                  <a:extLst>
                    <a:ext uri="{9D8B030D-6E8A-4147-A177-3AD203B41FA5}">
                      <a16:colId xmlns:a16="http://schemas.microsoft.com/office/drawing/2014/main" val="3894698797"/>
                    </a:ext>
                  </a:extLst>
                </a:gridCol>
                <a:gridCol w="1046298">
                  <a:extLst>
                    <a:ext uri="{9D8B030D-6E8A-4147-A177-3AD203B41FA5}">
                      <a16:colId xmlns:a16="http://schemas.microsoft.com/office/drawing/2014/main" val="1547837648"/>
                    </a:ext>
                  </a:extLst>
                </a:gridCol>
                <a:gridCol w="1247363">
                  <a:extLst>
                    <a:ext uri="{9D8B030D-6E8A-4147-A177-3AD203B41FA5}">
                      <a16:colId xmlns:a16="http://schemas.microsoft.com/office/drawing/2014/main" val="383007418"/>
                    </a:ext>
                  </a:extLst>
                </a:gridCol>
                <a:gridCol w="1249680">
                  <a:extLst>
                    <a:ext uri="{9D8B030D-6E8A-4147-A177-3AD203B41FA5}">
                      <a16:colId xmlns:a16="http://schemas.microsoft.com/office/drawing/2014/main" val="2969707908"/>
                    </a:ext>
                  </a:extLst>
                </a:gridCol>
                <a:gridCol w="1461922">
                  <a:extLst>
                    <a:ext uri="{9D8B030D-6E8A-4147-A177-3AD203B41FA5}">
                      <a16:colId xmlns:a16="http://schemas.microsoft.com/office/drawing/2014/main" val="25512354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Ledg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ost Cen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rogra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if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u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sour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tiv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584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30100 NP prior ye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C1111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G8888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3339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1111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1,0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068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0001 Reven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C1111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G8888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33399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2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780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50001 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C1111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G8888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33399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1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1028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9BC74A-F677-7D02-6212-94EFC8D1E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937964"/>
              </p:ext>
            </p:extLst>
          </p:nvPr>
        </p:nvGraphicFramePr>
        <p:xfrm>
          <a:off x="366878" y="3495493"/>
          <a:ext cx="12271044" cy="1152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00">
                  <a:extLst>
                    <a:ext uri="{9D8B030D-6E8A-4147-A177-3AD203B41FA5}">
                      <a16:colId xmlns:a16="http://schemas.microsoft.com/office/drawing/2014/main" val="4183641105"/>
                    </a:ext>
                  </a:extLst>
                </a:gridCol>
                <a:gridCol w="1813084">
                  <a:extLst>
                    <a:ext uri="{9D8B030D-6E8A-4147-A177-3AD203B41FA5}">
                      <a16:colId xmlns:a16="http://schemas.microsoft.com/office/drawing/2014/main" val="231544861"/>
                    </a:ext>
                  </a:extLst>
                </a:gridCol>
                <a:gridCol w="1426865">
                  <a:extLst>
                    <a:ext uri="{9D8B030D-6E8A-4147-A177-3AD203B41FA5}">
                      <a16:colId xmlns:a16="http://schemas.microsoft.com/office/drawing/2014/main" val="2953487230"/>
                    </a:ext>
                  </a:extLst>
                </a:gridCol>
                <a:gridCol w="1259598">
                  <a:extLst>
                    <a:ext uri="{9D8B030D-6E8A-4147-A177-3AD203B41FA5}">
                      <a16:colId xmlns:a16="http://schemas.microsoft.com/office/drawing/2014/main" val="3894698797"/>
                    </a:ext>
                  </a:extLst>
                </a:gridCol>
                <a:gridCol w="1025532">
                  <a:extLst>
                    <a:ext uri="{9D8B030D-6E8A-4147-A177-3AD203B41FA5}">
                      <a16:colId xmlns:a16="http://schemas.microsoft.com/office/drawing/2014/main" val="1547837648"/>
                    </a:ext>
                  </a:extLst>
                </a:gridCol>
                <a:gridCol w="1196563">
                  <a:extLst>
                    <a:ext uri="{9D8B030D-6E8A-4147-A177-3AD203B41FA5}">
                      <a16:colId xmlns:a16="http://schemas.microsoft.com/office/drawing/2014/main" val="383007418"/>
                    </a:ext>
                  </a:extLst>
                </a:gridCol>
                <a:gridCol w="1300480">
                  <a:extLst>
                    <a:ext uri="{9D8B030D-6E8A-4147-A177-3AD203B41FA5}">
                      <a16:colId xmlns:a16="http://schemas.microsoft.com/office/drawing/2014/main" val="2969707908"/>
                    </a:ext>
                  </a:extLst>
                </a:gridCol>
                <a:gridCol w="1461922">
                  <a:extLst>
                    <a:ext uri="{9D8B030D-6E8A-4147-A177-3AD203B41FA5}">
                      <a16:colId xmlns:a16="http://schemas.microsoft.com/office/drawing/2014/main" val="25512354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d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if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tiv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584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0002 Reven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F4444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2224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5,0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068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50002 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F4444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S2224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1,0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78018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C87A882-BC6B-173F-0C8F-60757F709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71244"/>
              </p:ext>
            </p:extLst>
          </p:nvPr>
        </p:nvGraphicFramePr>
        <p:xfrm>
          <a:off x="366878" y="5415732"/>
          <a:ext cx="12271044" cy="1152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00">
                  <a:extLst>
                    <a:ext uri="{9D8B030D-6E8A-4147-A177-3AD203B41FA5}">
                      <a16:colId xmlns:a16="http://schemas.microsoft.com/office/drawing/2014/main" val="4183641105"/>
                    </a:ext>
                  </a:extLst>
                </a:gridCol>
                <a:gridCol w="1813084">
                  <a:extLst>
                    <a:ext uri="{9D8B030D-6E8A-4147-A177-3AD203B41FA5}">
                      <a16:colId xmlns:a16="http://schemas.microsoft.com/office/drawing/2014/main" val="231544861"/>
                    </a:ext>
                  </a:extLst>
                </a:gridCol>
                <a:gridCol w="1426865">
                  <a:extLst>
                    <a:ext uri="{9D8B030D-6E8A-4147-A177-3AD203B41FA5}">
                      <a16:colId xmlns:a16="http://schemas.microsoft.com/office/drawing/2014/main" val="2953487230"/>
                    </a:ext>
                  </a:extLst>
                </a:gridCol>
                <a:gridCol w="1259598">
                  <a:extLst>
                    <a:ext uri="{9D8B030D-6E8A-4147-A177-3AD203B41FA5}">
                      <a16:colId xmlns:a16="http://schemas.microsoft.com/office/drawing/2014/main" val="3894698797"/>
                    </a:ext>
                  </a:extLst>
                </a:gridCol>
                <a:gridCol w="1025532">
                  <a:extLst>
                    <a:ext uri="{9D8B030D-6E8A-4147-A177-3AD203B41FA5}">
                      <a16:colId xmlns:a16="http://schemas.microsoft.com/office/drawing/2014/main" val="1547837648"/>
                    </a:ext>
                  </a:extLst>
                </a:gridCol>
                <a:gridCol w="1247363">
                  <a:extLst>
                    <a:ext uri="{9D8B030D-6E8A-4147-A177-3AD203B41FA5}">
                      <a16:colId xmlns:a16="http://schemas.microsoft.com/office/drawing/2014/main" val="383007418"/>
                    </a:ext>
                  </a:extLst>
                </a:gridCol>
                <a:gridCol w="1300480">
                  <a:extLst>
                    <a:ext uri="{9D8B030D-6E8A-4147-A177-3AD203B41FA5}">
                      <a16:colId xmlns:a16="http://schemas.microsoft.com/office/drawing/2014/main" val="2969707908"/>
                    </a:ext>
                  </a:extLst>
                </a:gridCol>
                <a:gridCol w="1411122">
                  <a:extLst>
                    <a:ext uri="{9D8B030D-6E8A-4147-A177-3AD203B41FA5}">
                      <a16:colId xmlns:a16="http://schemas.microsoft.com/office/drawing/2014/main" val="25512354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d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tiv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584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30100 NP prior ye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G8888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S222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rgbClr val="FF0000"/>
                          </a:solidFill>
                        </a:rPr>
                        <a:t>[blank]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1,1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068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30100 NP prior ye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C11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F444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D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S222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$(4,000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78018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16F6775-564A-C2F2-2744-F4CD359D2666}"/>
              </a:ext>
            </a:extLst>
          </p:cNvPr>
          <p:cNvSpPr txBox="1"/>
          <p:nvPr/>
        </p:nvSpPr>
        <p:spPr>
          <a:xfrm>
            <a:off x="4377842" y="4846320"/>
            <a:ext cx="3169920" cy="3847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ear End Roll Forward Proc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DDB317-C856-C7CA-6D6D-BA2D90102CD8}"/>
              </a:ext>
            </a:extLst>
          </p:cNvPr>
          <p:cNvSpPr txBox="1"/>
          <p:nvPr/>
        </p:nvSpPr>
        <p:spPr>
          <a:xfrm>
            <a:off x="5119522" y="1071992"/>
            <a:ext cx="1616558" cy="3847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early Activity</a:t>
            </a:r>
          </a:p>
        </p:txBody>
      </p:sp>
    </p:spTree>
    <p:extLst>
      <p:ext uri="{BB962C8B-B14F-4D97-AF65-F5344CB8AC3E}">
        <p14:creationId xmlns:p14="http://schemas.microsoft.com/office/powerpoint/2010/main" val="1686298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9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13.xml><?xml version="1.0" encoding="utf-8"?>
<a:theme xmlns:a="http://schemas.openxmlformats.org/drawingml/2006/main" name="3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3.xml><?xml version="1.0" encoding="utf-8"?>
<a:theme xmlns:a="http://schemas.openxmlformats.org/drawingml/2006/main" name="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4.xml><?xml version="1.0" encoding="utf-8"?>
<a:theme xmlns:a="http://schemas.openxmlformats.org/drawingml/2006/main" name="8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ange Impact Assessment Deliverable Kick Off_v2.potx  -  Read-Only" id="{BF8822CC-A693-432F-A260-1B81BAB156C6}" vid="{3DA52278-C50B-497B-99FD-017F36DB303D}"/>
    </a:ext>
  </a:extLst>
</a:theme>
</file>

<file path=ppt/theme/theme5.xml><?xml version="1.0" encoding="utf-8"?>
<a:theme xmlns:a="http://schemas.openxmlformats.org/drawingml/2006/main" name="19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7.xml><?xml version="1.0" encoding="utf-8"?>
<a:theme xmlns:a="http://schemas.openxmlformats.org/drawingml/2006/main" name="White_Custom Design UWFT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8.xml><?xml version="1.0" encoding="utf-8"?>
<a:theme xmlns:a="http://schemas.openxmlformats.org/drawingml/2006/main" name="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Custom Design">
  <a:themeElements>
    <a:clrScheme name="UW Brand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E5E4E48944904EA29CA8A60EB3DD4A" ma:contentTypeVersion="13" ma:contentTypeDescription="Create a new document." ma:contentTypeScope="" ma:versionID="4f0f2dbd5de7a0f18cac2cf6e2ecc56b">
  <xsd:schema xmlns:xsd="http://www.w3.org/2001/XMLSchema" xmlns:xs="http://www.w3.org/2001/XMLSchema" xmlns:p="http://schemas.microsoft.com/office/2006/metadata/properties" xmlns:ns2="6c58eb10-3e4a-46ae-adb6-5cb727f0709d" xmlns:ns3="2ddf6f93-9cf0-4fb3-acb7-352a87fed0bf" targetNamespace="http://schemas.microsoft.com/office/2006/metadata/properties" ma:root="true" ma:fieldsID="8436285ae3b2a65ed5da63e2d578f516" ns2:_="" ns3:_="">
    <xsd:import namespace="6c58eb10-3e4a-46ae-adb6-5cb727f0709d"/>
    <xsd:import namespace="2ddf6f93-9cf0-4fb3-acb7-352a87fed0b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8eb10-3e4a-46ae-adb6-5cb727f0709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f6f93-9cf0-4fb3-acb7-352a87fed0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58eb10-3e4a-46ae-adb6-5cb727f0709d">
      <UserInfo>
        <DisplayName>Mary Esther</DisplayName>
        <AccountId>171</AccountId>
        <AccountType/>
      </UserInfo>
    </SharedWithUsers>
    <lcf76f155ced4ddcb4097134ff3c332f xmlns="2ddf6f93-9cf0-4fb3-acb7-352a87fed0b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3E4E443-78F3-4111-999F-68B3E8F21E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7E2350-9A08-4842-BB4C-B52FA5403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58eb10-3e4a-46ae-adb6-5cb727f0709d"/>
    <ds:schemaRef ds:uri="2ddf6f93-9cf0-4fb3-acb7-352a87fed0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27C088-0680-4C99-AF9D-5C6550C1D7C7}">
  <ds:schemaRefs>
    <ds:schemaRef ds:uri="http://schemas.microsoft.com/office/2006/documentManagement/types"/>
    <ds:schemaRef ds:uri="6c58eb10-3e4a-46ae-adb6-5cb727f0709d"/>
    <ds:schemaRef ds:uri="http://www.w3.org/XML/1998/namespace"/>
    <ds:schemaRef ds:uri="http://purl.org/dc/elements/1.1/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schemas.microsoft.com/office/infopath/2007/PartnerControls"/>
    <ds:schemaRef ds:uri="2ddf6f93-9cf0-4fb3-acb7-352a87fed0bf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1</Words>
  <Application>Microsoft Office PowerPoint</Application>
  <PresentationFormat>Custom</PresentationFormat>
  <Paragraphs>212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40" baseType="lpstr">
      <vt:lpstr>Arial</vt:lpstr>
      <vt:lpstr>Arial Black</vt:lpstr>
      <vt:lpstr>Calibri</vt:lpstr>
      <vt:lpstr>Calibri Light</vt:lpstr>
      <vt:lpstr>Encode Sans Black</vt:lpstr>
      <vt:lpstr>Encode Sans Normal</vt:lpstr>
      <vt:lpstr>Encode Sans Normal Black</vt:lpstr>
      <vt:lpstr>Lucida Grande</vt:lpstr>
      <vt:lpstr>Open Sans</vt:lpstr>
      <vt:lpstr>Open Sans Light</vt:lpstr>
      <vt:lpstr>Uni Sans</vt:lpstr>
      <vt:lpstr>Uni Sans Book</vt:lpstr>
      <vt:lpstr>Uni Sans Regular</vt:lpstr>
      <vt:lpstr>1_UWFT_White</vt:lpstr>
      <vt:lpstr>1_Custom Design</vt:lpstr>
      <vt:lpstr>UWFT_Purple_Theme</vt:lpstr>
      <vt:lpstr>8_UWFT_White_Theme</vt:lpstr>
      <vt:lpstr>19_Custom Design</vt:lpstr>
      <vt:lpstr>UWFT_White_Theme</vt:lpstr>
      <vt:lpstr>White_Custom Design UWFT</vt:lpstr>
      <vt:lpstr>UWFT_White</vt:lpstr>
      <vt:lpstr>Custom Design</vt:lpstr>
      <vt:lpstr>1_Custom Design</vt:lpstr>
      <vt:lpstr>2_Custom Design</vt:lpstr>
      <vt:lpstr>9_UWFT_White_Theme</vt:lpstr>
      <vt:lpstr>3_Custom Design</vt:lpstr>
      <vt:lpstr>think-cell Slide</vt:lpstr>
      <vt:lpstr>Shared Environment accounting forum</vt:lpstr>
      <vt:lpstr>PowerPoint Presentation</vt:lpstr>
      <vt:lpstr>Data Integrity Issues</vt:lpstr>
      <vt:lpstr>PowerPoint Presentation</vt:lpstr>
      <vt:lpstr>PowerPoint Presentation</vt:lpstr>
      <vt:lpstr>PowerPoint Presentation</vt:lpstr>
      <vt:lpstr>Net Position</vt:lpstr>
      <vt:lpstr>PowerPoint Presentation</vt:lpstr>
      <vt:lpstr>PowerPoint Presentation</vt:lpstr>
      <vt:lpstr>PowerPoint Presentation</vt:lpstr>
      <vt:lpstr>SE Accounting Forum Web Page –  Decks &amp; Recordings https://finance.uw.edu/fr/node/87 Finance&gt; Financial Reporting&gt; Shared Environment Accounting Forum</vt:lpstr>
      <vt:lpstr>Reference documents –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Model Master Plan/Architect Phases</dc:title>
  <dc:creator/>
  <cp:keywords/>
  <cp:lastModifiedBy/>
  <cp:revision>1383</cp:revision>
  <dcterms:modified xsi:type="dcterms:W3CDTF">2024-02-13T17:5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StatusInfo">
    <vt:lpwstr>None</vt:lpwstr>
  </property>
  <property fmtid="{D5CDD505-2E9C-101B-9397-08002B2CF9AE}" pid="4" name="ProgMgtType">
    <vt:lpwstr>Meeting Materials</vt:lpwstr>
  </property>
  <property fmtid="{D5CDD505-2E9C-101B-9397-08002B2CF9AE}" pid="5" name="Meeting Material">
    <vt:lpwstr>Background Information</vt:lpwstr>
  </property>
  <property fmtid="{D5CDD505-2E9C-101B-9397-08002B2CF9AE}" pid="6" name="Scheduled Meeting Date">
    <vt:filetime>2019-02-06T19:03:37Z</vt:filetime>
  </property>
  <property fmtid="{D5CDD505-2E9C-101B-9397-08002B2CF9AE}" pid="7" name="MeetingCat">
    <vt:lpwstr>Workshop</vt:lpwstr>
  </property>
  <property fmtid="{D5CDD505-2E9C-101B-9397-08002B2CF9AE}" pid="8" name="AuthorIds_UIVersion_1024">
    <vt:lpwstr>69</vt:lpwstr>
  </property>
  <property fmtid="{D5CDD505-2E9C-101B-9397-08002B2CF9AE}" pid="9" name="General Topics">
    <vt:lpwstr>NONE</vt:lpwstr>
  </property>
  <property fmtid="{D5CDD505-2E9C-101B-9397-08002B2CF9AE}" pid="10" name="E2E Process">
    <vt:lpwstr>NONE</vt:lpwstr>
  </property>
  <property fmtid="{D5CDD505-2E9C-101B-9397-08002B2CF9AE}" pid="11" name="Info Type">
    <vt:lpwstr>NONE</vt:lpwstr>
  </property>
  <property fmtid="{D5CDD505-2E9C-101B-9397-08002B2CF9AE}" pid="12" name="Workstream">
    <vt:lpwstr>Operating/Support Model</vt:lpwstr>
  </property>
  <property fmtid="{D5CDD505-2E9C-101B-9397-08002B2CF9AE}" pid="13" name="Effort">
    <vt:lpwstr>130;#Op Model Working Group|1728cf52-e909-4b0f-bd23-5265ebd3f340</vt:lpwstr>
  </property>
  <property fmtid="{D5CDD505-2E9C-101B-9397-08002B2CF9AE}" pid="14" name="End to End Process">
    <vt:lpwstr/>
  </property>
  <property fmtid="{D5CDD505-2E9C-101B-9397-08002B2CF9AE}" pid="15" name="Key Doc">
    <vt:lpwstr>No</vt:lpwstr>
  </property>
  <property fmtid="{D5CDD505-2E9C-101B-9397-08002B2CF9AE}" pid="16" name="X-Functional">
    <vt:lpwstr>No</vt:lpwstr>
  </property>
  <property fmtid="{D5CDD505-2E9C-101B-9397-08002B2CF9AE}" pid="17" name="AuthorIds_UIVersion_11264">
    <vt:lpwstr>29</vt:lpwstr>
  </property>
  <property fmtid="{D5CDD505-2E9C-101B-9397-08002B2CF9AE}" pid="18" name="Doc Type">
    <vt:lpwstr>38;#Meeting Material|5ca797d6-ec80-41a8-bbd5-b5d7ff016b8a</vt:lpwstr>
  </property>
  <property fmtid="{D5CDD505-2E9C-101B-9397-08002B2CF9AE}" pid="19" name="AuthorIds_UIVersion_13312">
    <vt:lpwstr>69</vt:lpwstr>
  </property>
  <property fmtid="{D5CDD505-2E9C-101B-9397-08002B2CF9AE}" pid="20" name="FT Help Flag">
    <vt:lpwstr/>
  </property>
  <property fmtid="{D5CDD505-2E9C-101B-9397-08002B2CF9AE}" pid="21" name="Type of Document">
    <vt:lpwstr>455;#Template|ab09379f-8e9c-4109-ac8e-967692de8f42</vt:lpwstr>
  </property>
  <property fmtid="{D5CDD505-2E9C-101B-9397-08002B2CF9AE}" pid="22" name="Process Areas">
    <vt:lpwstr/>
  </property>
  <property fmtid="{D5CDD505-2E9C-101B-9397-08002B2CF9AE}" pid="23" name="OCM PIllars">
    <vt:lpwstr/>
  </property>
  <property fmtid="{D5CDD505-2E9C-101B-9397-08002B2CF9AE}" pid="24" name="IT Pillars">
    <vt:lpwstr/>
  </property>
  <property fmtid="{D5CDD505-2E9C-101B-9397-08002B2CF9AE}" pid="25" name="Move">
    <vt:lpwstr>UWFT Documents</vt:lpwstr>
  </property>
  <property fmtid="{D5CDD505-2E9C-101B-9397-08002B2CF9AE}" pid="26" name="n259a89570034573aee561765ba8e8fd">
    <vt:lpwstr>Op Model Working Group|1728cf52-e909-4b0f-bd23-5265ebd3f340</vt:lpwstr>
  </property>
  <property fmtid="{D5CDD505-2E9C-101B-9397-08002B2CF9AE}" pid="27" name="c1c28741c3ce488a89a9527edba98201">
    <vt:lpwstr/>
  </property>
  <property fmtid="{D5CDD505-2E9C-101B-9397-08002B2CF9AE}" pid="28" name="k9c4bf066cb5458da15ef6f4eaf30b30">
    <vt:lpwstr/>
  </property>
  <property fmtid="{D5CDD505-2E9C-101B-9397-08002B2CF9AE}" pid="29" name="a8521ba342074cdb909d922726f92453">
    <vt:lpwstr>Meeting Material|5ca797d6-ec80-41a8-bbd5-b5d7ff016b8a</vt:lpwstr>
  </property>
  <property fmtid="{D5CDD505-2E9C-101B-9397-08002B2CF9AE}" pid="30" name="SB Deliverables">
    <vt:lpwstr>583;#TBD Effort|ac059e7d-4f3a-4f3a-aae6-1959af6dadf3</vt:lpwstr>
  </property>
  <property fmtid="{D5CDD505-2E9C-101B-9397-08002B2CF9AE}" pid="31" name="e6e320f5c2ab4532bc0affd47f90b31c">
    <vt:lpwstr/>
  </property>
  <property fmtid="{D5CDD505-2E9C-101B-9397-08002B2CF9AE}" pid="32" name="PM_x0020_Topics">
    <vt:lpwstr/>
  </property>
  <property fmtid="{D5CDD505-2E9C-101B-9397-08002B2CF9AE}" pid="33" name="PM Topics">
    <vt:lpwstr/>
  </property>
  <property fmtid="{D5CDD505-2E9C-101B-9397-08002B2CF9AE}" pid="34" name="DocumentLink">
    <vt:lpwstr>https://uwnetid.sharepoint.com/sites/UWFTTeam//sites/UWFTTeam/Sandbox Documents/Op Model Shared Services Docs/Slide Decks Op Model Shared Services/Material Master Op Model Shared Services_PlanArchitect.pptx</vt:lpwstr>
  </property>
  <property fmtid="{D5CDD505-2E9C-101B-9397-08002B2CF9AE}" pid="35" name="SandBoxDocumentsUrl">
    <vt:lpwstr>https://uwnetid.sharepoint.com/sites/UWFTTeam/_layouts/15/wrkstat.aspx?List=9a6372f2-1c1b-4a2c-afb2-3bd48b102e88&amp;WorkflowInstanceName=d74b6768-3874-4890-96d3-1a38e71ff486, Set URL</vt:lpwstr>
  </property>
  <property fmtid="{D5CDD505-2E9C-101B-9397-08002B2CF9AE}" pid="36" name="h9d20ee9cd914b71a0d5343b7a0aee19">
    <vt:lpwstr>Template|ab09379f-8e9c-4109-ac8e-967692de8f42</vt:lpwstr>
  </property>
  <property fmtid="{D5CDD505-2E9C-101B-9397-08002B2CF9AE}" pid="37" name="d81b5cf1e51943db95f66400bc834c31">
    <vt:lpwstr/>
  </property>
  <property fmtid="{D5CDD505-2E9C-101B-9397-08002B2CF9AE}" pid="38" name="caa3166a4ef44d52a884ec95dadc7085">
    <vt:lpwstr/>
  </property>
  <property fmtid="{D5CDD505-2E9C-101B-9397-08002B2CF9AE}" pid="39" name="Type SB">
    <vt:lpwstr>627;#_TBD Type|81f31b21-3e0f-4e81-bd21-3459148e0219</vt:lpwstr>
  </property>
  <property fmtid="{D5CDD505-2E9C-101B-9397-08002B2CF9AE}" pid="40" name="_docset_NoMedatataSyncRequired">
    <vt:lpwstr>False</vt:lpwstr>
  </property>
  <property fmtid="{D5CDD505-2E9C-101B-9397-08002B2CF9AE}" pid="41" name="Status SB">
    <vt:lpwstr>NA</vt:lpwstr>
  </property>
  <property fmtid="{D5CDD505-2E9C-101B-9397-08002B2CF9AE}" pid="42" name="Stage - SB">
    <vt:lpwstr>Configure and Prototype</vt:lpwstr>
  </property>
  <property fmtid="{D5CDD505-2E9C-101B-9397-08002B2CF9AE}" pid="43" name="g8ecfd6069cd4448a46f82c4ec933d65">
    <vt:lpwstr>_TBD Type|81f31b21-3e0f-4e81-bd21-3459148e0219</vt:lpwstr>
  </property>
  <property fmtid="{D5CDD505-2E9C-101B-9397-08002B2CF9AE}" pid="44" name="h5e7189ca4ac4979a0394616daf355b0">
    <vt:lpwstr>TBD Effort|ac059e7d-4f3a-4f3a-aae6-1959af6dadf3</vt:lpwstr>
  </property>
  <property fmtid="{D5CDD505-2E9C-101B-9397-08002B2CF9AE}" pid="45" name="Process Areas L2">
    <vt:lpwstr/>
  </property>
  <property fmtid="{D5CDD505-2E9C-101B-9397-08002B2CF9AE}" pid="46" name="DocumentSetDescription">
    <vt:lpwstr/>
  </property>
  <property fmtid="{D5CDD505-2E9C-101B-9397-08002B2CF9AE}" pid="47" name="xd_ProgID">
    <vt:lpwstr/>
  </property>
  <property fmtid="{D5CDD505-2E9C-101B-9397-08002B2CF9AE}" pid="48" name="ComplianceAssetId">
    <vt:lpwstr/>
  </property>
  <property fmtid="{D5CDD505-2E9C-101B-9397-08002B2CF9AE}" pid="49" name="TemplateUrl">
    <vt:lpwstr/>
  </property>
  <property fmtid="{D5CDD505-2E9C-101B-9397-08002B2CF9AE}" pid="50" name="xd_Signature">
    <vt:bool>false</vt:bool>
  </property>
  <property fmtid="{D5CDD505-2E9C-101B-9397-08002B2CF9AE}" pid="51" name="MSIP_Label_ea60d57e-af5b-4752-ac57-3e4f28ca11dc_Enabled">
    <vt:lpwstr>true</vt:lpwstr>
  </property>
  <property fmtid="{D5CDD505-2E9C-101B-9397-08002B2CF9AE}" pid="52" name="MSIP_Label_ea60d57e-af5b-4752-ac57-3e4f28ca11dc_SetDate">
    <vt:lpwstr>2021-06-02T16:38:29Z</vt:lpwstr>
  </property>
  <property fmtid="{D5CDD505-2E9C-101B-9397-08002B2CF9AE}" pid="53" name="MSIP_Label_ea60d57e-af5b-4752-ac57-3e4f28ca11dc_Method">
    <vt:lpwstr>Standard</vt:lpwstr>
  </property>
  <property fmtid="{D5CDD505-2E9C-101B-9397-08002B2CF9AE}" pid="54" name="MSIP_Label_ea60d57e-af5b-4752-ac57-3e4f28ca11dc_Name">
    <vt:lpwstr>ea60d57e-af5b-4752-ac57-3e4f28ca11dc</vt:lpwstr>
  </property>
  <property fmtid="{D5CDD505-2E9C-101B-9397-08002B2CF9AE}" pid="55" name="MSIP_Label_ea60d57e-af5b-4752-ac57-3e4f28ca11dc_SiteId">
    <vt:lpwstr>36da45f1-dd2c-4d1f-af13-5abe46b99921</vt:lpwstr>
  </property>
  <property fmtid="{D5CDD505-2E9C-101B-9397-08002B2CF9AE}" pid="56" name="MSIP_Label_ea60d57e-af5b-4752-ac57-3e4f28ca11dc_ActionId">
    <vt:lpwstr>bba6b171-c4d7-4ece-8313-ea277101de26</vt:lpwstr>
  </property>
  <property fmtid="{D5CDD505-2E9C-101B-9397-08002B2CF9AE}" pid="57" name="MSIP_Label_ea60d57e-af5b-4752-ac57-3e4f28ca11dc_ContentBits">
    <vt:lpwstr>0</vt:lpwstr>
  </property>
  <property fmtid="{D5CDD505-2E9C-101B-9397-08002B2CF9AE}" pid="58" name="Process Areas - UWFT">
    <vt:lpwstr>5;#_NA Not Applicable|da71a9cd-6e60-49f6-8dde-ddeb91baa0aa</vt:lpwstr>
  </property>
  <property fmtid="{D5CDD505-2E9C-101B-9397-08002B2CF9AE}" pid="59" name="Doc Type - UWFT">
    <vt:lpwstr>3;#Organizing/Monitoring Work in Progress|c40c95eb-337c-4daa-8d2e-8e12d1a00b16</vt:lpwstr>
  </property>
  <property fmtid="{D5CDD505-2E9C-101B-9397-08002B2CF9AE}" pid="60" name="MediaServiceImageTags">
    <vt:lpwstr/>
  </property>
  <property fmtid="{D5CDD505-2E9C-101B-9397-08002B2CF9AE}" pid="61" name="Deliverables">
    <vt:lpwstr>593;#Op Model Effort|c89a1adc-edf5-4c45-9973-4de29aa4cbc4</vt:lpwstr>
  </property>
  <property fmtid="{D5CDD505-2E9C-101B-9397-08002B2CF9AE}" pid="62" name="Deliverable Type">
    <vt:lpwstr>NA</vt:lpwstr>
  </property>
  <property fmtid="{D5CDD505-2E9C-101B-9397-08002B2CF9AE}" pid="63" name="SharedWithUsers">
    <vt:lpwstr/>
  </property>
  <property fmtid="{D5CDD505-2E9C-101B-9397-08002B2CF9AE}" pid="64" name="lcf76f155ced4ddcb4097134ff3c332f">
    <vt:lpwstr/>
  </property>
  <property fmtid="{D5CDD505-2E9C-101B-9397-08002B2CF9AE}" pid="65" name="m20dcd23bfb146678cfadc0f8b530117">
    <vt:lpwstr/>
  </property>
  <property fmtid="{D5CDD505-2E9C-101B-9397-08002B2CF9AE}" pid="66" name="cfda4c2e6eaa4b919c52782db5a3950d">
    <vt:lpwstr/>
  </property>
  <property fmtid="{D5CDD505-2E9C-101B-9397-08002B2CF9AE}" pid="67" name="jfa7385944014aa794a01674ea6d4a75">
    <vt:lpwstr/>
  </property>
  <property fmtid="{D5CDD505-2E9C-101B-9397-08002B2CF9AE}" pid="68" name="_ExtendedDescription">
    <vt:lpwstr/>
  </property>
  <property fmtid="{D5CDD505-2E9C-101B-9397-08002B2CF9AE}" pid="69" name="Topic - UWFT">
    <vt:lpwstr>6;#Op Model Effort|c89a1adc-edf5-4c45-9973-4de29aa4cbc4</vt:lpwstr>
  </property>
  <property fmtid="{D5CDD505-2E9C-101B-9397-08002B2CF9AE}" pid="70" name="f1d40a61100d4fd78c055bcbbc959a60">
    <vt:lpwstr>_NA Not Applicable|da71a9cd-6e60-49f6-8dde-ddeb91baa0aa</vt:lpwstr>
  </property>
  <property fmtid="{D5CDD505-2E9C-101B-9397-08002B2CF9AE}" pid="71" name="e0554abe769746e69c042ffe99e604b4">
    <vt:lpwstr>Op Model Effort|c89a1adc-edf5-4c45-9973-4de29aa4cbc4</vt:lpwstr>
  </property>
  <property fmtid="{D5CDD505-2E9C-101B-9397-08002B2CF9AE}" pid="72" name="h8618d58416d42168e7ab0429ee6aab7">
    <vt:lpwstr>Organizing/Monitoring Work in Progress|c40c95eb-337c-4daa-8d2e-8e12d1a00b16</vt:lpwstr>
  </property>
  <property fmtid="{D5CDD505-2E9C-101B-9397-08002B2CF9AE}" pid="73" name="_dlc_DocIdItemGuid">
    <vt:lpwstr>68e3dbfa-d383-48c7-8e00-ded23ed5205c</vt:lpwstr>
  </property>
  <property fmtid="{D5CDD505-2E9C-101B-9397-08002B2CF9AE}" pid="74" name="ContentTypeId">
    <vt:lpwstr>0x01010090E5E4E48944904EA29CA8A60EB3DD4A</vt:lpwstr>
  </property>
</Properties>
</file>